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147473130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078977932636469E-2"/>
          <c:y val="7.4574961360123648E-2"/>
          <c:w val="0.97584204413472708"/>
          <c:h val="0.850850077279752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xVal>
            <c:numRef>
              <c:f>Sheet1!$A$2:$G$2</c:f>
              <c:numCache>
                <c:formatCode>General</c:formatCode>
                <c:ptCount val="7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2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</c:numCache>
            </c:numRef>
          </c:xVal>
          <c:yVal>
            <c:numRef>
              <c:f>Sheet1!$A$1:$G$1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F3E-48CF-BC82-2E3DA18FFFA2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errBars>
            <c:errDir val="x"/>
            <c:errBarType val="plus"/>
            <c:errValType val="cust"/>
            <c:noEndCap val="1"/>
            <c:plus>
              <c:numRef>
                <c:f>Sheet1!$A$3:$G$3</c:f>
                <c:numCache>
                  <c:formatCode>General</c:formatCode>
                  <c:ptCount val="7"/>
                  <c:pt idx="0">
                    <c:v>-3</c:v>
                  </c:pt>
                  <c:pt idx="1">
                    <c:v>-2</c:v>
                  </c:pt>
                  <c:pt idx="2">
                    <c:v>-3</c:v>
                  </c:pt>
                  <c:pt idx="3">
                    <c:v>-6</c:v>
                  </c:pt>
                  <c:pt idx="4">
                    <c:v>-5</c:v>
                  </c:pt>
                  <c:pt idx="5">
                    <c:v>-3</c:v>
                  </c:pt>
                  <c:pt idx="6">
                    <c:v>-5</c:v>
                  </c:pt>
                </c:numCache>
              </c:numRef>
            </c:plus>
            <c:spPr>
              <a:ln w="152400" cmpd="sng" algn="ctr">
                <a:solidFill>
                  <a:schemeClr val="accent5"/>
                </a:solidFill>
                <a:prstDash val="solid"/>
              </a:ln>
            </c:spPr>
          </c:errBars>
          <c:xVal>
            <c:numRef>
              <c:f>Sheet1!$A$4:$G$4</c:f>
              <c:numCache>
                <c:formatCode>General</c:formatCode>
                <c:ptCount val="7"/>
                <c:pt idx="0">
                  <c:v>10</c:v>
                </c:pt>
                <c:pt idx="1">
                  <c:v>8</c:v>
                </c:pt>
                <c:pt idx="2">
                  <c:v>9</c:v>
                </c:pt>
                <c:pt idx="3">
                  <c:v>8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</c:numCache>
            </c:numRef>
          </c:xVal>
          <c:yVal>
            <c:numRef>
              <c:f>Sheet1!$A$1:$G$1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F3E-48CF-BC82-2E3DA18FFFA2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F3E-48CF-BC82-2E3DA18FFFA2}"/>
              </c:ext>
            </c:extLst>
          </c:dPt>
          <c:dPt>
            <c:idx val="1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F3E-48CF-BC82-2E3DA18FFFA2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F3E-48CF-BC82-2E3DA18FFFA2}"/>
              </c:ext>
            </c:extLst>
          </c:dPt>
          <c:dPt>
            <c:idx val="3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F3E-48CF-BC82-2E3DA18FFFA2}"/>
              </c:ext>
            </c:extLst>
          </c:dPt>
          <c:dPt>
            <c:idx val="4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F3E-48CF-BC82-2E3DA18FFFA2}"/>
              </c:ext>
            </c:extLst>
          </c:dPt>
          <c:dPt>
            <c:idx val="5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F3E-48CF-BC82-2E3DA18FFFA2}"/>
              </c:ext>
            </c:extLst>
          </c:dPt>
          <c:dPt>
            <c:idx val="6"/>
            <c:marker>
              <c:symbol val="circle"/>
              <c:size val="10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F3E-48CF-BC82-2E3DA18FFFA2}"/>
              </c:ext>
            </c:extLst>
          </c:dPt>
          <c:dLbls>
            <c:dLbl>
              <c:idx val="0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F3E-48CF-BC82-2E3DA18FFFA2}"/>
                </c:ext>
              </c:extLst>
            </c:dLbl>
            <c:dLbl>
              <c:idx val="2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F3E-48CF-BC82-2E3DA18FFFA2}"/>
                </c:ext>
              </c:extLst>
            </c:dLbl>
            <c:dLbl>
              <c:idx val="4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F3E-48CF-BC82-2E3DA18FFFA2}"/>
                </c:ext>
              </c:extLst>
            </c:dLbl>
            <c:dLbl>
              <c:idx val="5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F3E-48CF-BC82-2E3DA18FFFA2}"/>
                </c:ext>
              </c:extLst>
            </c:dLbl>
            <c:dLbl>
              <c:idx val="6"/>
              <c:layout>
                <c:manualLayout>
                  <c:x val="0"/>
                  <c:y val="-5.680061823802164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F3E-48CF-BC82-2E3DA18FFF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5:$G$5</c:f>
              <c:numCache>
                <c:formatCode>General</c:formatCode>
                <c:ptCount val="7"/>
                <c:pt idx="0">
                  <c:v>8.5</c:v>
                </c:pt>
                <c:pt idx="1">
                  <c:v>7</c:v>
                </c:pt>
                <c:pt idx="2">
                  <c:v>7.5</c:v>
                </c:pt>
                <c:pt idx="3">
                  <c:v>5</c:v>
                </c:pt>
                <c:pt idx="4">
                  <c:v>3.5</c:v>
                </c:pt>
                <c:pt idx="5">
                  <c:v>5.5</c:v>
                </c:pt>
                <c:pt idx="6">
                  <c:v>5.5</c:v>
                </c:pt>
              </c:numCache>
            </c:numRef>
          </c:xVal>
          <c:yVal>
            <c:numRef>
              <c:f>Sheet1!$A$1:$G$1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7F3E-48CF-BC82-2E3DA18FF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"/>
        <c:axId val="4"/>
      </c:scatterChart>
      <c:valAx>
        <c:axId val="4"/>
        <c:scaling>
          <c:orientation val="maxMin"/>
          <c:max val="6.5"/>
          <c:min val="-0.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717E69-A591-485E-B6D8-86EB7ABD92D8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22AD5D-CFD7-4AA3-8CF5-531A6E8BDB9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4433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6868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4AC6558-0C4B-40E4-8B03-7AB8080606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EAE689C-8775-4573-B3DC-4F34A08F6C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9EA3BFB-31BF-49E9-9E50-6ECF07A7C0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21F5BAA-F0E3-4F1B-894B-C35FA8896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987F188-416E-4AF2-8085-F1DE39753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250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113882-B7E3-4FDD-8579-864D535F8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C699BBA-2B79-403C-AD7F-A52758E7B2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FB1AC44-9975-47EC-B48B-EE1587936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C76DB6C-EFCD-4A16-A96D-2D3D89C61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CC99574-A855-4F55-9BC9-28AD752837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8163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89691279-1BDA-4B25-87F4-D5BC80D0F4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744F0769-562F-420F-93B5-E09AA4DA18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EC7FCAB-83F2-4C5C-BF20-DE0035ABE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6AEFC15-3B87-4A89-B7EB-B548C8F78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1CB255E-1962-4513-8996-2B929F604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5199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72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54696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36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94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5491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86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379DF51-B978-4E0A-A4DA-C099997B0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9ACE947-A7B9-4770-9A75-72B8AC22CE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8F6F9F2-7B17-4364-BEDC-0EDD14785F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8DD8D8C-C2BC-4BB0-A7A7-A7E354717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4DD94AC-39C0-4B69-8917-1E84FD534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00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C82C694-90A3-4B1A-A8D4-C8986D920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D2A507A-FB89-469B-A3A2-29077F575D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66B25A9-EB02-4988-ADD5-9F23191F62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CADD404-C833-43D6-A348-F33371142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D10692B-BCBA-4C07-B9C1-880B50EDF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17998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A7E5A80-8BEB-4FB1-9C79-340784169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51992DC-01E3-4ADD-9694-E241A437DF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95EC50D2-ED8D-4651-8B72-CFB3CA038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B1A7546F-4AE3-4E11-BAA9-07809A48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9406DFD-933A-4DE4-A2EE-AD13E5C0B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0CC0D0-A24B-4166-91A7-EC38361E1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6391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545A12-358D-4197-B707-54E2FF012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EC915EB-2F89-4161-8FE6-84235B4674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090C65E-70E8-4AE4-94D1-F2D2ACA233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53AE4F78-9E00-475A-B1B7-5D0A930EA6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6B4061A1-A51B-4CEF-9872-44E96343C08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7DC30F0B-2783-40F9-A968-4F9420BBA1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A0736E81-7B6B-4249-9A87-4A924CF3C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370E90DD-F8E7-4548-94AD-9137B45C6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1241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1327247-A266-4BF9-879E-6966D1F6F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67AD6DC7-8267-4027-BB80-42C5DE047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61B5C81-A14C-4EAD-A15B-165A9DE6B5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1CB9C2C-A6CC-4B56-874E-737742F46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3174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EA3170FA-A3EC-4809-9C4B-76C916E2C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75C7B3F-41D6-43F9-A3AD-AD693621B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C1F8DE7-F72A-4A25-B682-A1559B458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4727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55B40E7-5C86-49B2-9C3A-6BBC5F1C0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72C9E89-631E-4B00-92B5-E15F7DC96A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B4C452B-2002-45F5-9B29-E6D7E9BAF4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7FB4BDA-6098-42AF-A801-40C62842F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642278B-F6FB-4B3A-A0C8-751B23D39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73E2CEE-1FA2-4686-A2BA-AAD3B6850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5295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1D9CFC0-88D3-4B6C-B2BE-E0A111C02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5183D537-2E94-4458-9252-591C7CB473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6C21E0F-1859-4052-8168-3123B7890B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156F945-7A1A-403B-A4E3-CEB13ED5F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FC670F3-2C7C-4AD1-AF39-F9C1683C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B3292A-02A2-4F11-B80D-38A5DBB10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80215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1E98E339-DE72-486E-8676-3AB2EADD0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ED33A72-BBA1-4F50-A850-4AE03CC4C2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06E69DB-0F8E-46C6-8765-E2A014A836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92359C-A1AF-445E-9548-60A0D2E192F7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FC39CD6-7F2F-4917-B6D4-D4018A7A6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3BA255D-81DB-4263-BB91-2E189A0151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807D59-DAA2-43C7-BCA4-80170712223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5099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291023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image" Target="../media/image4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oleObject" Target="../embeddings/oleObject5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notesSlide" Target="../notesSlides/notesSlide1.xml"/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chart" Target="../charts/chart1.xml"/><Relationship Id="rId20" Type="http://schemas.openxmlformats.org/officeDocument/2006/relationships/tags" Target="../tags/tag23.xml"/><Relationship Id="rId41" Type="http://schemas.openxmlformats.org/officeDocument/2006/relationships/tags" Target="../tags/tag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4" imgW="349" imgH="350" progId="TCLayout.ActiveDocument.1">
                  <p:embed/>
                </p:oleObj>
              </mc:Choice>
              <mc:Fallback>
                <p:oleObj name="think-cell 幻灯片" r:id="rId4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9DB2F0B-807C-3BFF-C602-8E3F51B2F8C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66606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line, think-cell, chart, charts, graph, graphs, comment</a:t>
            </a:r>
          </a:p>
        </p:txBody>
      </p:sp>
      <p:sp>
        <p:nvSpPr>
          <p:cNvPr id="18" name="Rechteck 137">
            <a:extLst>
              <a:ext uri="{FF2B5EF4-FFF2-40B4-BE49-F238E27FC236}">
                <a16:creationId xmlns:a16="http://schemas.microsoft.com/office/drawing/2014/main" id="{08CAEA16-DD6E-611B-01F6-430198733330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</a:t>
            </a:r>
            <a:r>
              <a:rPr kumimoji="0" lang="en-US" altLang="zh-CN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19" name="tc_columnheader">
            <a:extLst>
              <a:ext uri="{FF2B5EF4-FFF2-40B4-BE49-F238E27FC236}">
                <a16:creationId xmlns:a16="http://schemas.microsoft.com/office/drawing/2014/main" id="{88296D28-85D0-40E4-0FA4-40BE96908756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20" name="tc_columnhead">
              <a:extLst>
                <a:ext uri="{FF2B5EF4-FFF2-40B4-BE49-F238E27FC236}">
                  <a16:creationId xmlns:a16="http://schemas.microsoft.com/office/drawing/2014/main" id="{5652FEBD-8EDB-85B4-F1AA-FB0E75DFBF77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1" name="tc_columnheadline">
              <a:extLst>
                <a:ext uri="{FF2B5EF4-FFF2-40B4-BE49-F238E27FC236}">
                  <a16:creationId xmlns:a16="http://schemas.microsoft.com/office/drawing/2014/main" id="{C5BAA1F2-C084-695D-E303-FA6FBA9A04E4}"/>
                </a:ext>
              </a:extLst>
            </p:cNvPr>
            <p:cNvCxnSpPr>
              <a:cxnSpLocks/>
              <a:stCxn id="20" idx="4"/>
              <a:endCxn id="2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tc_columnheader">
            <a:extLst>
              <a:ext uri="{FF2B5EF4-FFF2-40B4-BE49-F238E27FC236}">
                <a16:creationId xmlns:a16="http://schemas.microsoft.com/office/drawing/2014/main" id="{A49FE862-ABA7-8DCD-EDCC-FEEECE1E63A4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23" name="tc_columnhead">
              <a:extLst>
                <a:ext uri="{FF2B5EF4-FFF2-40B4-BE49-F238E27FC236}">
                  <a16:creationId xmlns:a16="http://schemas.microsoft.com/office/drawing/2014/main" id="{B568D603-8285-A1AA-5848-86DB9AED0F7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24" name="tc_columnheadline">
              <a:extLst>
                <a:ext uri="{FF2B5EF4-FFF2-40B4-BE49-F238E27FC236}">
                  <a16:creationId xmlns:a16="http://schemas.microsoft.com/office/drawing/2014/main" id="{9CF6B69A-AF1B-FAFF-AC27-486A01ACA84B}"/>
                </a:ext>
              </a:extLst>
            </p:cNvPr>
            <p:cNvCxnSpPr>
              <a:cxnSpLocks/>
              <a:stCxn id="23" idx="4"/>
              <a:endCxn id="2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1C9B311D-746D-6F2D-9A02-90B471D2D7B0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471805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0B43FE98-258D-A466-94CD-C4B52B78F8F7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049463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35513A7A-48E2-4FCC-FED6-19015EE8BC3A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38505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80D4C6E1-8FE8-6D25-8B5A-9CD69FDB39A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2716213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D6FD5E2B-AD8D-37B1-2BF5-76E30580678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38480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0BE03034-D2DF-43C7-2C5F-BB2E2D488DF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3382963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3854BE35-ACEF-3F87-5B23-B578E49FC021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671830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4C2CB354-8D46-930D-5073-0E44D429835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4049713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8CFCBAAA-0D61-5011-1E57-BBFEE5E093D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05155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A9796E3C-F70D-59AF-5BC5-AE472ED67C6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8051800" y="2139950"/>
            <a:ext cx="0" cy="3495675"/>
          </a:xfrm>
          <a:prstGeom prst="line">
            <a:avLst/>
          </a:prstGeom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3" name="Chart 3">
            <a:extLst>
              <a:ext uri="{FF2B5EF4-FFF2-40B4-BE49-F238E27FC236}">
                <a16:creationId xmlns:a16="http://schemas.microsoft.com/office/drawing/2014/main" id="{BCAB99E5-CE4C-448E-A358-9EC1A58C74EF}"/>
              </a:ext>
            </a:extLst>
          </p:cNvPr>
          <p:cNvGraphicFramePr/>
          <p:nvPr>
            <p:custDataLst>
              <p:tags r:id="rId13"/>
            </p:custDataLst>
            <p:extLst/>
          </p:nvPr>
        </p:nvGraphicFramePr>
        <p:xfrm>
          <a:off x="1300163" y="1833563"/>
          <a:ext cx="6834187" cy="410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60650" y="1860550"/>
            <a:ext cx="111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55C1511-F1D0-4265-ADA2-BE6683D00AC0}" type="datetime'''''''''''''''''''''''''2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28987" y="1860550"/>
            <a:ext cx="109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AC3B6F5-8A7E-44CA-9993-89C3E88095ED}" type="datetime'''''''''''''''''''''''''''''''''3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992562" y="1860550"/>
            <a:ext cx="114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41C7BE-61C6-44BF-B648-95CDEB1AFC09}" type="datetime'''''''''''''''''''''''''''''''''''''''''''''''''4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62488" y="1860550"/>
            <a:ext cx="112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FFAE409-FF33-4C60-A627-7E953175A438}" type="datetime'''''''''''''''''''''''''5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329238" y="1860550"/>
            <a:ext cx="111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9CAF380-766C-4337-99CE-FA904FFFDD1C}" type="datetime'''''''''''''''''''''''''''''''6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003925" y="1860550"/>
            <a:ext cx="96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793146B-31C3-4070-922C-0BAA6B7197C9}" type="datetime'''''''''''''''''''''''''''''''''''''''7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661149" y="1860550"/>
            <a:ext cx="114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961E63-88B3-4341-B64C-B927C83A2D4B}" type="datetime'''''''''''''''''''''''''''''''8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329488" y="1860550"/>
            <a:ext cx="111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04E636-8D1D-4B2F-B0EF-CFAA89EF1B2F}" type="datetime'''''''''9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325562" y="1860550"/>
            <a:ext cx="115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2CA5544-C63A-4EC8-BD16-29D4AD3D61E9}" type="datetime'0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012950" y="1860550"/>
            <a:ext cx="74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51CFE5C-BF2C-4720-AAF5-BC63A7476938}" type="datetime'''''''''''''1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956550" y="1860550"/>
            <a:ext cx="190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FC3D82F-C9B2-4D4F-868E-F0E734913DF9}" type="datetime'''''''''1''''''''''''''''''''''''''''''''''''''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86F3D0AE-178E-A8EF-EF03-BD5183B9D25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 rot="16200000">
            <a:off x="4186238" y="56737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2AD2600-E60E-7C85-8B4F-309DB0C814D9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4249738" y="2139950"/>
            <a:ext cx="0" cy="34956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E5350443-F79A-62B1-4C54-F37C5ADE229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 rot="16200000">
            <a:off x="5654675" y="56737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0A4B1F-D22D-9586-748B-7BA2C939C2E7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5718175" y="2139950"/>
            <a:ext cx="0" cy="34956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7F1583A2-1E99-C57C-725C-7B7A7574F29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6051550" y="2762250"/>
            <a:ext cx="0" cy="11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03BBEC4C-E211-0F56-F0A0-968A5D0C9B5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051425" y="5257800"/>
            <a:ext cx="0" cy="11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895974" y="2549525"/>
            <a:ext cx="3127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91F7C27-0D55-4804-A8D8-D2BC8AD37E6F}" type="datetime'''''''''''''''''''''''''''''''7''''.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54013" y="2782888"/>
            <a:ext cx="911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2F7CB2E-26E0-405E-8636-28EE171A6CEB}" type="datetime'''''''C''''r''iter''i''''''o''''''''''''n'' ''''''''''''B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riterion B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44487" y="3281363"/>
            <a:ext cx="920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1D53C23-0F35-4307-B486-C3E7932ED4CF}" type="datetime'''''C''ri''''''ter''i''''''''''''''on ''C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riterion C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 useBgFill="1">
        <p:nvSpPr>
          <p:cNvPr id="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554538" y="3548063"/>
            <a:ext cx="3286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84E01F-CCAB-4D0B-BD13-38C1C87F5B45}" type="datetime'''''''5''''''''''''''''''''''''''''''''''''''''.''''''''0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.0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352D69E9-F85E-4926-DD99-337F4B0F8F1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41313" y="3781425"/>
            <a:ext cx="923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29F801-B8FA-42ED-AF87-05841E9AD962}" type="datetime'''C''''r''''''''i''''''''''t''''e''''r''''''i''''on D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riterion D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63538" y="4279900"/>
            <a:ext cx="901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ED6B63F-24DF-4FAA-80AC-E54E6DDF4106}" type="datetime'C''r''''''''''''''''''''''''''it''''''e''r''''i''o''n'''''' E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riterion E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66713" y="4779963"/>
            <a:ext cx="8985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B0335FB-F87D-41E2-A75A-B2EEB92AE773}" type="datetime'''''''''''''''''Cr''''it''er''''''i''on'''''' ''''''''F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riterion F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38138" y="5278438"/>
            <a:ext cx="927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FB7CBEA-E191-4A8C-9977-BB1FCF5F818C}" type="datetime'''''''''''''C''''r''i''te''r''''''ion'''''''''' ''''''''''G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riterion G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113212" y="5865813"/>
            <a:ext cx="273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F0F422A-DB17-4207-BACF-973D4B9271EE}" type="datetime'''''''''''''''''''''''''4''''''''''''''''.3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.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581649" y="5865813"/>
            <a:ext cx="273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935730D-D34C-4F69-9A93-0654C583F35E}" type="datetime'''''''''6''''.''''''5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.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50837" y="2282825"/>
            <a:ext cx="914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D0F0FB-4E87-42F7-B38B-796C2E85445F}" type="datetime'''''Cr''''''''''''''it''e''''''''''''''''r''i''o''''''''n ''A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riterion A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3F1FC1-F827-5533-D888-03A711A464B4}"/>
              </a:ext>
            </a:extLst>
          </p:cNvPr>
          <p:cNvSpPr>
            <a:spLocks/>
          </p:cNvSpPr>
          <p:nvPr/>
        </p:nvSpPr>
        <p:spPr>
          <a:xfrm>
            <a:off x="8811108" y="-2098653"/>
            <a:ext cx="4575600" cy="26580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profile line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reate a football field char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first insert a profile lin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Next,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ba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's datasheet, enter a series representing the min. values and a series representing the max. valu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, select both series' lines. Right-click to open the context menu. Selec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Add Error Ba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lick the bars to open the mini toolbar. Adjust the thickness and color of the ba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Finally,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create marke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, follow these step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datasheet, enter a series representing the marker value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In the chart, click the series line to open the mini toolbar. Selec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No Lin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/>
              </a:rPr>
              <a:t>. Add markers, and style as desired.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D9E34C5-B9B3-4202-86DE-6F63454F2699}"/>
              </a:ext>
            </a:extLst>
          </p:cNvPr>
          <p:cNvSpPr txBox="1"/>
          <p:nvPr/>
        </p:nvSpPr>
        <p:spPr>
          <a:xfrm>
            <a:off x="5208998" y="780836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58748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cbVgh9Cb3CnZuS04N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vGczTUIfOKky3YIslb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49XQPfE.YertnQ53KD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3txbxzSgo5JKhW17b5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_Zoz13yHktbLks0o8T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bn_DIH1DDgT_G_tdIU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270lcxofcd06LGSZ0t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oMJYEYK1uzCaBlal5q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1qxwPu0mO_v_xUqRvC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DHHWraJ2SNZdPmRb4F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sltFpNo1ZUjbpsQcDk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x0rk_k38wycHfLnjgV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bveDybZYQpcNenM9mm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hrBKnAdlgW0D4VUYb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h.gYVK.oYL0eS7qNH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FzcKOjTQxmkUv5_y.y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ikqHObPt9rvecRougd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ERyzqYRVtLOEbMEamY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IzXuicPgtKHtR3E.cC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uFuJSXpwMcViVpUiH0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DXBh4jJamFDDKunkdK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WpyDbvUo2MA19Ace1m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b8XfPk7Ix0g3ZY2kDL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_cvJ_9C32JQAzMGDo2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75102xfAde1OEmlyFD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1CEQVKjN98cJdMz5IE1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CXDDFON6swJHt_pk.Q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XMnNE1setN_NMihrLqz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yaM67JemT6U3bQLo2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7IHEFkXQr5m8m2e0Td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_wRiSkG9BWcYQ4D13dF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xKB5dZwX.XFbiGv6OJO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.tANAWt6lGr2wsX21U4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4C4Clq00k6Z5TEtgUG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5WT.SM9VV.3WEIL0TW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RRrT0i6yj2jDL8iBRu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5JEy90liz3CRLKE6C3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.bTRYXLwNN30vy2dAy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rgxt14eIxRPhc6T8US2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7</Words>
  <Application>Microsoft Office PowerPoint</Application>
  <PresentationFormat>宽屏</PresentationFormat>
  <Paragraphs>4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等线 Light</vt:lpstr>
      <vt:lpstr>理想品牌字体 2022</vt:lpstr>
      <vt:lpstr>Arial</vt:lpstr>
      <vt:lpstr>Calibri</vt:lpstr>
      <vt:lpstr>Trebuchet MS</vt:lpstr>
      <vt:lpstr>Office 主题​​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07:02Z</dcterms:created>
  <dcterms:modified xsi:type="dcterms:W3CDTF">2025-09-10T07:07:56Z</dcterms:modified>
</cp:coreProperties>
</file>